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424" r:id="rId3"/>
    <p:sldMasterId id="2147485446" r:id="rId4"/>
    <p:sldMasterId id="2147485456" r:id="rId5"/>
    <p:sldMasterId id="2147485490" r:id="rId6"/>
  </p:sldMasterIdLst>
  <p:notesMasterIdLst>
    <p:notesMasterId r:id="rId13"/>
  </p:notesMasterIdLst>
  <p:handoutMasterIdLst>
    <p:handoutMasterId r:id="rId14"/>
  </p:handoutMasterIdLst>
  <p:sldIdLst>
    <p:sldId id="323" r:id="rId7"/>
    <p:sldId id="445" r:id="rId8"/>
    <p:sldId id="443" r:id="rId9"/>
    <p:sldId id="447" r:id="rId10"/>
    <p:sldId id="450" r:id="rId11"/>
    <p:sldId id="452" r:id="rId12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5" autoAdjust="0"/>
    <p:restoredTop sz="93995" autoAdjust="0"/>
  </p:normalViewPr>
  <p:slideViewPr>
    <p:cSldViewPr snapToGrid="0" snapToObjects="1">
      <p:cViewPr varScale="1">
        <p:scale>
          <a:sx n="35" d="100"/>
          <a:sy n="35" d="100"/>
        </p:scale>
        <p:origin x="1308" y="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11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11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606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494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498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2815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9B17A6-8FF8-405B-9CCE-AE6A392A6C0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15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7/11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365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2510056" y="6356350"/>
            <a:ext cx="414633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7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139AF0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70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64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21F43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21F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95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252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44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2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89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96092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4238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72947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379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6127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3769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47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860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5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65417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322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8538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0768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2373422" y="6356350"/>
            <a:ext cx="4282966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  <p:pic>
        <p:nvPicPr>
          <p:cNvPr id="9" name="Picture 8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497" y="6283220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812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1579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22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err="1"/>
              <a:t>Titlemaster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F62D93A-3BA0-8848-BFA3-D7046C1B555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07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56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208105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9825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96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62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82969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5480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4531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66" name="Picture 65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2283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84579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06672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99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9168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738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5520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6355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3867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5265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  <p:pic>
        <p:nvPicPr>
          <p:cNvPr id="12" name="Picture 11"/>
          <p:cNvPicPr/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41924" y="6287452"/>
            <a:ext cx="1558925" cy="50292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713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3260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3780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384144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5011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7/11/1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327055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99150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image" Target="../media/image3.jpeg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7" r:id="rId5"/>
    <p:sldLayoutId id="2147485488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Presentation Title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>
              <a:solidFill>
                <a:srgbClr val="021F4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61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47" r:id="rId1"/>
    <p:sldLayoutId id="2147485448" r:id="rId2"/>
    <p:sldLayoutId id="2147485449" r:id="rId3"/>
    <p:sldLayoutId id="2147485451" r:id="rId4"/>
    <p:sldLayoutId id="2147485454" r:id="rId5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3636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7" r:id="rId1"/>
    <p:sldLayoutId id="2147485458" r:id="rId2"/>
    <p:sldLayoutId id="2147485459" r:id="rId3"/>
    <p:sldLayoutId id="2147485460" r:id="rId4"/>
    <p:sldLayoutId id="2147485461" r:id="rId5"/>
    <p:sldLayoutId id="2147485462" r:id="rId6"/>
    <p:sldLayoutId id="2147485463" r:id="rId7"/>
    <p:sldLayoutId id="2147485464" r:id="rId8"/>
    <p:sldLayoutId id="2147485465" r:id="rId9"/>
    <p:sldLayoutId id="2147485466" r:id="rId10"/>
    <p:sldLayoutId id="2147485467" r:id="rId11"/>
    <p:sldLayoutId id="2147485468" r:id="rId12"/>
    <p:sldLayoutId id="2147485469" r:id="rId13"/>
    <p:sldLayoutId id="2147485470" r:id="rId14"/>
    <p:sldLayoutId id="2147485471" r:id="rId15"/>
    <p:sldLayoutId id="2147485472" r:id="rId16"/>
    <p:sldLayoutId id="2147485473" r:id="rId17"/>
    <p:sldLayoutId id="2147485474" r:id="rId18"/>
    <p:sldLayoutId id="2147485475" r:id="rId19"/>
    <p:sldLayoutId id="2147485476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1948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1" r:id="rId1"/>
    <p:sldLayoutId id="2147485492" r:id="rId2"/>
    <p:sldLayoutId id="2147485493" r:id="rId3"/>
    <p:sldLayoutId id="2147485494" r:id="rId4"/>
    <p:sldLayoutId id="2147485495" r:id="rId5"/>
    <p:sldLayoutId id="2147485496" r:id="rId6"/>
    <p:sldLayoutId id="2147485497" r:id="rId7"/>
    <p:sldLayoutId id="2147485498" r:id="rId8"/>
    <p:sldLayoutId id="2147485499" r:id="rId9"/>
    <p:sldLayoutId id="2147485500" r:id="rId10"/>
    <p:sldLayoutId id="2147485501" r:id="rId11"/>
    <p:sldLayoutId id="2147485502" r:id="rId12"/>
    <p:sldLayoutId id="2147485503" r:id="rId13"/>
    <p:sldLayoutId id="2147485504" r:id="rId14"/>
    <p:sldLayoutId id="2147485505" r:id="rId15"/>
    <p:sldLayoutId id="2147485506" r:id="rId16"/>
    <p:sldLayoutId id="2147485507" r:id="rId17"/>
    <p:sldLayoutId id="2147485508" r:id="rId18"/>
    <p:sldLayoutId id="2147485509" r:id="rId19"/>
    <p:sldLayoutId id="2147485510" r:id="rId20"/>
    <p:sldLayoutId id="2147485511" r:id="rId21"/>
    <p:sldLayoutId id="2147485512" r:id="rId22"/>
    <p:sldLayoutId id="2147485513" r:id="rId23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G"/><Relationship Id="rId5" Type="http://schemas.openxmlformats.org/officeDocument/2006/relationships/image" Target="../media/image1.png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16" b="12156"/>
          <a:stretch/>
        </p:blipFill>
        <p:spPr>
          <a:xfrm>
            <a:off x="0" y="15125"/>
            <a:ext cx="9132277" cy="4389120"/>
          </a:xfrm>
          <a:prstGeom prst="rect">
            <a:avLst/>
          </a:prstGeom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138" y="6090471"/>
            <a:ext cx="2210432" cy="433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7" r="26016" b="50350"/>
          <a:stretch/>
        </p:blipFill>
        <p:spPr>
          <a:xfrm>
            <a:off x="7415101" y="162734"/>
            <a:ext cx="1571513" cy="987459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04019" y="6080902"/>
            <a:ext cx="1403436" cy="45275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Rectangle 10"/>
          <p:cNvSpPr/>
          <p:nvPr/>
        </p:nvSpPr>
        <p:spPr>
          <a:xfrm>
            <a:off x="1683209" y="3253396"/>
            <a:ext cx="7449070" cy="430887"/>
          </a:xfrm>
          <a:prstGeom prst="rect">
            <a:avLst/>
          </a:prstGeom>
          <a:solidFill>
            <a:schemeClr val="bg1">
              <a:alpha val="9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2200" dirty="0">
                <a:latin typeface="Calibri" panose="020F0502020204030204" pitchFamily="34" charset="0"/>
              </a:rPr>
              <a:t>17</a:t>
            </a:r>
            <a:r>
              <a:rPr lang="en-US" sz="2200" baseline="30000" dirty="0">
                <a:latin typeface="Calibri" panose="020F0502020204030204" pitchFamily="34" charset="0"/>
              </a:rPr>
              <a:t>th</a:t>
            </a:r>
            <a:r>
              <a:rPr lang="en-US" sz="2200" dirty="0">
                <a:latin typeface="Calibri" panose="020F0502020204030204" pitchFamily="34" charset="0"/>
              </a:rPr>
              <a:t> November, 201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" y="2268511"/>
            <a:ext cx="9132278" cy="1077218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</a:rPr>
              <a:t>IT for Land Admin Management TDD Action Planning</a:t>
            </a:r>
          </a:p>
          <a:p>
            <a:pPr algn="ctr"/>
            <a:r>
              <a:rPr lang="en-US" sz="3200" dirty="0">
                <a:solidFill>
                  <a:schemeClr val="bg1"/>
                </a:solidFill>
                <a:latin typeface="Calibri" panose="020F0502020204030204" pitchFamily="34" charset="0"/>
              </a:rPr>
              <a:t>Country Name</a:t>
            </a:r>
            <a:endParaRPr lang="en-US" sz="2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80999" y="4696630"/>
            <a:ext cx="40682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me of delegates, Institution</a:t>
            </a:r>
          </a:p>
          <a:p>
            <a:r>
              <a:rPr lang="en-US" dirty="0"/>
              <a:t>Name of delegates, Institution</a:t>
            </a:r>
          </a:p>
          <a:p>
            <a:r>
              <a:rPr lang="en-US" dirty="0"/>
              <a:t>Name of WB Task Team Leader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36914" y="819397"/>
            <a:ext cx="514201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dirty="0"/>
              <a:t>*Please put the photo(s) of your country here.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7255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1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Autofit/>
          </a:bodyPr>
          <a:lstStyle/>
          <a:p>
            <a:r>
              <a:rPr lang="en-US" altLang="ja-JP" dirty="0"/>
              <a:t>1</a:t>
            </a:r>
            <a:r>
              <a:rPr lang="en-US" dirty="0"/>
              <a:t>. Key takeaways from IT for Land Admin</a:t>
            </a:r>
            <a:br>
              <a:rPr lang="en-US" dirty="0"/>
            </a:br>
            <a:r>
              <a:rPr lang="en-US" dirty="0"/>
              <a:t>    Management  TD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683832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your key takeaways from the Technical Deep Dive relevant to your project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the lessons from local partners, speakers?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were your takeaways from peer to peer learning?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430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2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2</a:t>
            </a:r>
            <a:r>
              <a:rPr lang="en-US" dirty="0"/>
              <a:t>. What needs to be accomplishe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509037"/>
            <a:ext cx="8799336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List up to 3 things to address the priority challenges you are facing in your context. 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14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3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289727"/>
            <a:ext cx="7194572" cy="756707"/>
          </a:xfrm>
        </p:spPr>
        <p:txBody>
          <a:bodyPr>
            <a:normAutofit/>
          </a:bodyPr>
          <a:lstStyle/>
          <a:p>
            <a:r>
              <a:rPr lang="en-US" altLang="ja-JP" dirty="0"/>
              <a:t>3. </a:t>
            </a:r>
            <a:r>
              <a:rPr lang="en-US" dirty="0"/>
              <a:t>actions to be taken with mileston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5" y="1547538"/>
            <a:ext cx="8703083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6 months, 9 months and 18 months’ actions to be taken with milestones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91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What are Opportunities and Barriers in implementing the action pla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78804" y="306369"/>
            <a:ext cx="7147547" cy="756707"/>
          </a:xfrm>
        </p:spPr>
        <p:txBody>
          <a:bodyPr/>
          <a:lstStyle/>
          <a:p>
            <a:r>
              <a:rPr lang="en-US" dirty="0"/>
              <a:t>4.</a:t>
            </a:r>
            <a:r>
              <a:rPr lang="ja-JP" altLang="en-US" dirty="0"/>
              <a:t> </a:t>
            </a:r>
            <a:r>
              <a:rPr lang="en-US" dirty="0"/>
              <a:t>Opportunities and Barrier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4950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347663" y="6425501"/>
            <a:ext cx="317500" cy="365125"/>
          </a:xfrm>
        </p:spPr>
        <p:txBody>
          <a:bodyPr>
            <a:normAutofit lnSpcReduction="10000"/>
          </a:bodyPr>
          <a:lstStyle/>
          <a:p>
            <a:pPr>
              <a:defRPr/>
            </a:pPr>
            <a:fld id="{C54C04D3-1B41-4ACF-B3E7-625E10603CE3}" type="slidenum">
              <a:rPr lang="en-US" sz="1800" smtClean="0">
                <a:solidFill>
                  <a:srgbClr val="373545">
                    <a:lumMod val="65000"/>
                    <a:lumOff val="35000"/>
                  </a:srgbClr>
                </a:solidFill>
                <a:latin typeface="Calibri" panose="020F0502020204030204" pitchFamily="34" charset="0"/>
              </a:rPr>
              <a:pPr>
                <a:defRPr/>
              </a:pPr>
              <a:t>5</a:t>
            </a:fld>
            <a:endParaRPr lang="en-US" sz="1800" dirty="0">
              <a:solidFill>
                <a:srgbClr val="373545">
                  <a:lumMod val="65000"/>
                  <a:lumOff val="35000"/>
                </a:srgb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1035" y="321023"/>
            <a:ext cx="7194572" cy="756707"/>
          </a:xfrm>
        </p:spPr>
        <p:txBody>
          <a:bodyPr>
            <a:normAutofit/>
          </a:bodyPr>
          <a:lstStyle/>
          <a:p>
            <a:r>
              <a:rPr lang="en-US" dirty="0"/>
              <a:t>5. Needs for assista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81036" y="1393534"/>
            <a:ext cx="8712708" cy="3181421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kumimoji="1" lang="en-US" altLang="ja-JP" dirty="0">
                <a:solidFill>
                  <a:srgbClr val="00B0F0"/>
                </a:solidFill>
                <a:latin typeface="Calibri" panose="020F0502020204030204" pitchFamily="34" charset="0"/>
              </a:rPr>
              <a:t> What concrete support/assistance will you need from TDLC to implement your action steps successfully.?  </a:t>
            </a:r>
          </a:p>
        </p:txBody>
      </p:sp>
      <p:sp>
        <p:nvSpPr>
          <p:cNvPr id="2" name="Rectangle 1"/>
          <p:cNvSpPr/>
          <p:nvPr/>
        </p:nvSpPr>
        <p:spPr bwMode="auto">
          <a:xfrm>
            <a:off x="-137786" y="1640910"/>
            <a:ext cx="3720230" cy="24300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ja-JP" alt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836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Full Page Interior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19835</TotalTime>
  <Words>178</Words>
  <Application>Microsoft Office PowerPoint</Application>
  <PresentationFormat>On-screen Show (4:3)</PresentationFormat>
  <Paragraphs>2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3" baseType="lpstr">
      <vt:lpstr>MS PGothic</vt:lpstr>
      <vt:lpstr>MS PGothic</vt:lpstr>
      <vt:lpstr>ＭＳ 明朝</vt:lpstr>
      <vt:lpstr>Andes ExtraLight</vt:lpstr>
      <vt:lpstr>Arial</vt:lpstr>
      <vt:lpstr>Arial Bold</vt:lpstr>
      <vt:lpstr>Calibri</vt:lpstr>
      <vt:lpstr>Times New Roman</vt:lpstr>
      <vt:lpstr>Trebuchet MS</vt:lpstr>
      <vt:lpstr>Wingdings</vt:lpstr>
      <vt:lpstr>WBG-Any_Logo</vt:lpstr>
      <vt:lpstr>Full Page Interior</vt:lpstr>
      <vt:lpstr>1_Full Page Interior</vt:lpstr>
      <vt:lpstr>1_WBG-Any_Logo</vt:lpstr>
      <vt:lpstr>2_Full Page Interior</vt:lpstr>
      <vt:lpstr>3_Full Page Interior</vt:lpstr>
      <vt:lpstr>think-cell Slide</vt:lpstr>
      <vt:lpstr>PowerPoint Presentation</vt:lpstr>
      <vt:lpstr>1. Key takeaways from IT for Land Admin     Management  TDD</vt:lpstr>
      <vt:lpstr>2. What needs to be accomplished</vt:lpstr>
      <vt:lpstr>3. actions to be taken with milestones</vt:lpstr>
      <vt:lpstr>4. Opportunities and Barriers</vt:lpstr>
      <vt:lpstr>5. Needs for assist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A2016 World Bank TDLC</dc:title>
  <dc:creator>Daniel Levine</dc:creator>
  <cp:lastModifiedBy>Chiyuki Mifuji</cp:lastModifiedBy>
  <cp:revision>385</cp:revision>
  <cp:lastPrinted>2016-07-12T00:19:38Z</cp:lastPrinted>
  <dcterms:created xsi:type="dcterms:W3CDTF">2014-09-04T17:37:55Z</dcterms:created>
  <dcterms:modified xsi:type="dcterms:W3CDTF">2017-11-15T21:44:19Z</dcterms:modified>
</cp:coreProperties>
</file>